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9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412">
          <p15:clr>
            <a:srgbClr val="A4A3A4"/>
          </p15:clr>
        </p15:guide>
        <p15:guide id="4" pos="54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80"/>
    <a:srgbClr val="3399FF"/>
    <a:srgbClr val="7F7F7F"/>
    <a:srgbClr val="FFCC00"/>
    <a:srgbClr val="66CCFF"/>
    <a:srgbClr val="003382"/>
    <a:srgbClr val="333333"/>
    <a:srgbClr val="CC66FF"/>
    <a:srgbClr val="B4CC00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459" y="72"/>
      </p:cViewPr>
      <p:guideLst>
        <p:guide orient="horz" pos="2160"/>
        <p:guide pos="2880"/>
        <p:guide pos="412"/>
        <p:guide pos="54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9" d="100"/>
        <a:sy n="89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5/02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5/02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jp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17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0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689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69924" y="3303588"/>
            <a:ext cx="7993063" cy="26996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69925" y="1516678"/>
            <a:ext cx="7993063" cy="140964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0845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87140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69081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74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4x3New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3" y="0"/>
            <a:ext cx="9160933" cy="68707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73889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8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February 2020</a:t>
            </a:fld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5" name="MSIPCMContentMarking" descr="{&quot;HashCode&quot;:238713050,&quot;Placement&quot;:&quot;Footer&quot;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90" r:id="rId5"/>
    <p:sldLayoutId id="2147483674" r:id="rId6"/>
    <p:sldLayoutId id="2147483667" r:id="rId7"/>
    <p:sldLayoutId id="2147483691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">
            <a:extLst>
              <a:ext uri="{FF2B5EF4-FFF2-40B4-BE49-F238E27FC236}">
                <a16:creationId xmlns:a16="http://schemas.microsoft.com/office/drawing/2014/main" id="{4D65BEA0-BD33-469C-AEF2-A167FF7775AA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706124"/>
            <a:ext cx="7991475" cy="4113468"/>
            <a:chOff x="650875" y="1906363"/>
            <a:chExt cx="7991475" cy="4042393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30C176BE-257C-437A-9CC2-5F64ADE44EF0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lang="zh-CN" dirty="1" kumimoji="0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FZZhunYuan-M02S" pitchFamily="34" charset="-128"/>
                  <a:cs typeface="+mn-cs"/>
                </a:rPr>
                <a:t>价值和益处</a:t>
              </a: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98313B17-25C4-47EC-97A0-D5EA4A6938EA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3ED9B037-3867-41DD-AB47-8565E5B4FBF2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lang="zh-CN" dirty="1" kumimoji="0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FZZhunYuan-M02S"/>
                  <a:cs typeface="Arial" charset="0"/>
                </a:rPr>
                <a:t>描述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21BDC0ED-658F-47F0-BF67-1543B64981FB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dirty="1"/>
              <a:t>利用真空泵节省能耗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040" y="1395330"/>
            <a:ext cx="7997825" cy="307975"/>
          </a:xfrm>
        </p:spPr>
        <p:txBody>
          <a:bodyPr/>
          <a:lstStyle/>
          <a:p>
            <a:r>
              <a:rPr lang="zh-CN" dirty="1"/>
              <a:t>用真空泵替代文丘里系统。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zh-CN" dirty="1" sz="800"/>
              <a:t>价值：</a:t>
            </a:r>
            <a:r>
              <a:rPr lang="zh-CN" dirty="1" sz="800"/>
              <a:t>节约成本，提高可持续性</a:t>
            </a:r>
          </a:p>
          <a:p>
            <a:r>
              <a:rPr lang="zh-CN" dirty="1" sz="800"/>
              <a:t>设备：</a:t>
            </a:r>
            <a:r>
              <a:rPr lang="zh-CN" dirty="1" sz="800"/>
              <a:t>科尔塞尔包装机</a:t>
            </a:r>
          </a:p>
          <a:p>
            <a:r>
              <a:rPr lang="zh-CN" dirty="1" sz="800"/>
              <a:t>产品目录代码：</a:t>
            </a:r>
            <a:r>
              <a:rPr lang="zh-CN" dirty="1" sz="800"/>
              <a:t>CLC-01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452" y="2094120"/>
            <a:ext cx="38909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zh-CN" dirty="1" sz="1200" b="1"/>
              <a:t>节约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dirty="1" sz="1200"/>
              <a:t>降低压缩空气和能源消耗</a:t>
            </a:r>
            <a:r>
              <a:rPr lang="zh-CN" dirty="1" sz="1200"/>
              <a:t>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dirty="1" sz="1200"/>
              <a:t>使用2年后：</a:t>
            </a:r>
            <a:r>
              <a:rPr lang="zh-CN" dirty="1" sz="1200"/>
              <a:t>相比文丘里解决方案每年节省1,450欧元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70140" y="2116354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dirty="1" sz="1200"/>
              <a:t>任何配备文丘里系统的机器，SB37类型或其他类型（根据机器速度来定制具体需要的真空泵数量）</a:t>
            </a:r>
          </a:p>
        </p:txBody>
      </p:sp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009985" y="3379754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zh-CN" dirty="1" sz="1200" b="1">
                <a:solidFill>
                  <a:srgbClr val="FFFFFF"/>
                </a:solidFill>
                <a:ea typeface="MS PGothic" pitchFamily="34" charset="-128"/>
              </a:rPr>
              <a:t>采用前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03570" y="3397798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zh-CN" dirty="1" sz="1200" b="1">
                <a:solidFill>
                  <a:srgbClr val="FFFFFF"/>
                </a:solidFill>
                <a:ea typeface="MS PGothic" pitchFamily="34" charset="-128"/>
              </a:rPr>
              <a:t>采用后</a:t>
            </a: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668" y="3689515"/>
            <a:ext cx="1599463" cy="1960471"/>
          </a:xfrm>
          <a:prstGeom prst="rect">
            <a:avLst/>
          </a:prstGeom>
        </p:spPr>
      </p:pic>
      <p:pic>
        <p:nvPicPr>
          <p:cNvPr id="10" name="Immagin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520" y="3625516"/>
            <a:ext cx="2590812" cy="1760053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6325" y="4119497"/>
            <a:ext cx="1791237" cy="1548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636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5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FZZhunYuan-M02S"/>
        <a:cs typeface=""/>
      </a:majorFont>
      <a:minorFont>
        <a:latin typeface="Arial"/>
        <a:ea typeface="FZZhunYuan-M02S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FZZhunYuan-M02S"/>
        <a:cs typeface=""/>
      </a:majorFont>
      <a:minorFont>
        <a:latin typeface="Arial"/>
        <a:ea typeface="FZZhunYuan-M02S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FZZhunYuan-M02S"/>
        <a:cs typeface=""/>
      </a:majorFont>
      <a:minorFont>
        <a:latin typeface="Arial"/>
        <a:ea typeface="FZZhunYuan-M02S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AB7D417-52BD-4C73-BD75-1493A799F761}"/>
</file>

<file path=customXml/itemProps2.xml><?xml version="1.0" encoding="utf-8"?>
<ds:datastoreItem xmlns:ds="http://schemas.openxmlformats.org/officeDocument/2006/customXml" ds:itemID="{1B845FF3-29EB-46D7-990F-932AB3BA3A0B}"/>
</file>

<file path=customXml/itemProps3.xml><?xml version="1.0" encoding="utf-8"?>
<ds:datastoreItem xmlns:ds="http://schemas.openxmlformats.org/officeDocument/2006/customXml" ds:itemID="{DDAD32B1-8B79-4B25-8825-9B0A9551D240}"/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4x3_SHORT</Template>
  <TotalTime>0</TotalTime>
  <Words>77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Save energy with Vacuum pump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ace your obsolete display panel</dc:title>
  <dc:creator>Pomo, Claudio</dc:creator>
  <cp:lastModifiedBy>Sorega, Dan</cp:lastModifiedBy>
  <cp:revision>12</cp:revision>
  <dcterms:created xsi:type="dcterms:W3CDTF">2020-01-31T15:25:02Z</dcterms:created>
  <dcterms:modified xsi:type="dcterms:W3CDTF">2020-02-05T15:2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Claudio.Pomo@gebocermex.com</vt:lpwstr>
  </property>
  <property fmtid="{D5CDD505-2E9C-101B-9397-08002B2CF9AE}" pid="7" name="MSIP_Label_94480757-a570-4f64-84e7-c5b3ffe9d573_SetDate">
    <vt:lpwstr>2020-01-31T15:25:14.8361534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ContentTypeId">
    <vt:lpwstr>0x01010048C1934A45FF5D4B8D5F4B18333E543F</vt:lpwstr>
  </property>
</Properties>
</file>